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50"/>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 id="2147475207" r:id="rId41"/>
    <p:sldId id="2147475208" r:id="rId42"/>
    <p:sldId id="2147475209" r:id="rId43"/>
    <p:sldId id="2147475210" r:id="rId44"/>
    <p:sldId id="2147475211" r:id="rId45"/>
    <p:sldId id="2147475212" r:id="rId46"/>
    <p:sldId id="2147475213" r:id="rId47"/>
    <p:sldId id="2147475214" r:id="rId48"/>
    <p:sldId id="2147475215" r:id="rId4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CA1F6A72-2998-4BD7-A493-97E80512BC0F}">
          <p14:sldIdLst>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62" d="100"/>
          <a:sy n="62" d="100"/>
        </p:scale>
        <p:origin x="53" y="62"/>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notesMaster" Target="notesMasters/notesMaster1.xml"/><Relationship Id="rId51" Type="http://schemas.openxmlformats.org/officeDocument/2006/relationships/presProps" Target="presProps.xml"/><Relationship Id="rId52" Type="http://schemas.openxmlformats.org/officeDocument/2006/relationships/viewProps" Target="viewProps.xml"/><Relationship Id="rId53" Type="http://schemas.openxmlformats.org/officeDocument/2006/relationships/theme" Target="theme/theme1.xml"/><Relationship Id="rId54" Type="http://schemas.openxmlformats.org/officeDocument/2006/relationships/tableStyles" Target="tableStyles.xml"/><Relationship Id="rId55" Type="http://schemas.microsoft.com/office/2015/10/relationships/revisionInfo" Target="revisionInfo.xml"/><Relationship Id="rId56"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3</c:v>
                </c:pt>
                <c:pt idx="1">
                  <c:v>0.10259212167398468</c:v>
                </c:pt>
                <c:pt idx="2">
                  <c:v>0.044696005610716065</c:v>
                </c:pt>
                <c:pt idx="3">
                  <c:v>0.1803136678177994</c:v>
                </c:pt>
                <c:pt idx="4">
                  <c:v>0.12735227071905772</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08224680107053819</c:v>
                </c:pt>
                <c:pt idx="7">
                  <c:v>0.001621410733422529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333806811121813</c:v>
                </c:pt>
                <c:pt idx="3">
                  <c:v>0.0027527502396575065</c:v>
                </c:pt>
                <c:pt idx="4">
                  <c:v>0.002435391488778450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24421078576564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8619084149721175</c:v>
                </c:pt>
                <c:pt idx="7">
                  <c:v>0.01388674382083229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6802447120148726</c:v>
                </c:pt>
                <c:pt idx="2">
                  <c:v>0.04869440991895622</c:v>
                </c:pt>
                <c:pt idx="3">
                  <c:v>0.04088996951871713</c:v>
                </c:pt>
                <c:pt idx="4">
                  <c:v>0.25361554804749753</c:v>
                </c:pt>
                <c:pt idx="5">
                  <c:v>0.11838895636175994</c:v>
                </c:pt>
                <c:pt idx="6">
                  <c:v>0.16550560222536265</c:v>
                </c:pt>
                <c:pt idx="7">
                  <c:v>0.00871175347447606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3525515716639687</c:v>
                </c:pt>
                <c:pt idx="4">
                  <c:v>0.002187812609489373</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115986623375866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7217197951360326</c:v>
                </c:pt>
                <c:pt idx="3">
                  <c:v>0.0010058958992497093</c:v>
                </c:pt>
                <c:pt idx="4">
                  <c:v>0.0470568817713853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9380089971689055</c:v>
                </c:pt>
                <c:pt idx="2">
                  <c:v>0.001931840369391561</c:v>
                </c:pt>
                <c:pt idx="3">
                  <c:v>0.05746959791053882</c:v>
                </c:pt>
                <c:pt idx="4">
                  <c:v>0.12898938281725697</c:v>
                </c:pt>
                <c:pt idx="5">
                  <c:v>0.015122509606738709</c:v>
                </c:pt>
                <c:pt idx="6">
                  <c:v>0.000862270577499066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9096549648999662</c:v>
                </c:pt>
                <c:pt idx="2">
                  <c:v>0.001931840369391561</c:v>
                </c:pt>
                <c:pt idx="3">
                  <c:v>0.004793096154200613</c:v>
                </c:pt>
                <c:pt idx="5">
                  <c:v>0.007686348469021893</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170594247374988</c:v>
                </c:pt>
                <c:pt idx="4">
                  <c:v>0.007861850633016637</c:v>
                </c:pt>
                <c:pt idx="5">
                  <c:v>0.00443634681334110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3</c:v>
                </c:pt>
                <c:pt idx="1">
                  <c:v>0.10259212167398468</c:v>
                </c:pt>
                <c:pt idx="2">
                  <c:v>0.044696005610716065</c:v>
                </c:pt>
                <c:pt idx="3">
                  <c:v>0.1803136678177994</c:v>
                </c:pt>
                <c:pt idx="4">
                  <c:v>0.12735227071905772</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616246226144931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9435298747451548</c:v>
                </c:pt>
                <c:pt idx="4">
                  <c:v>0.0144795070204456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597598313584759</c:v>
                </c:pt>
                <c:pt idx="1">
                  <c:v>0.0958160655331802</c:v>
                </c:pt>
                <c:pt idx="2">
                  <c:v>0.04033257280893811</c:v>
                </c:pt>
                <c:pt idx="3">
                  <c:v>0.18244703884368935</c:v>
                </c:pt>
                <c:pt idx="4">
                  <c:v>0.12933676829071597</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2214049764099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3</c:v>
                </c:pt>
                <c:pt idx="2">
                  <c:v>0.07109906005240599</c:v>
                </c:pt>
                <c:pt idx="3">
                  <c:v>0.2764396051594939</c:v>
                </c:pt>
                <c:pt idx="4">
                  <c:v>0.1644229815129468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398190236829365</c:v>
                </c:pt>
                <c:pt idx="1">
                  <c:v>0.12114250160819365</c:v>
                </c:pt>
                <c:pt idx="2">
                  <c:v>0.06889813844343272</c:v>
                </c:pt>
                <c:pt idx="3">
                  <c:v>0.2805879716201998</c:v>
                </c:pt>
                <c:pt idx="4">
                  <c:v>0.16666104669686718</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571296070994586</c:v>
                </c:pt>
                <c:pt idx="4">
                  <c:v>0.0015081578836701527</c:v>
                </c:pt>
                <c:pt idx="5">
                  <c:v>0.004085336247008824</c:v>
                </c:pt>
                <c:pt idx="6">
                  <c:v>0.000515957767053843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8252845746087656</c:v>
                </c:pt>
                <c:pt idx="3">
                  <c:v>0.023371599934697704</c:v>
                </c:pt>
                <c:pt idx="4">
                  <c:v>0.009998195745854034</c:v>
                </c:pt>
                <c:pt idx="5">
                  <c:v>0.0038899292537360585</c:v>
                </c:pt>
                <c:pt idx="6">
                  <c:v>0.04470456424380656</c:v>
                </c:pt>
                <c:pt idx="7">
                  <c:v>0.003567517797533658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22587460929958045</c:v>
                </c:pt>
                <c:pt idx="1">
                  <c:v>0.04962238882232955</c:v>
                </c:pt>
                <c:pt idx="2">
                  <c:v>0.03598938070483513</c:v>
                </c:pt>
                <c:pt idx="3">
                  <c:v>0.08924047418819976</c:v>
                </c:pt>
                <c:pt idx="4">
                  <c:v>0.0772432843909047</c:v>
                </c:pt>
                <c:pt idx="5">
                  <c:v>0.022049272993968392</c:v>
                </c:pt>
                <c:pt idx="6">
                  <c:v>0.1359438627780665</c:v>
                </c:pt>
                <c:pt idx="7">
                  <c:v>0.0705738942403343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631616954824141</c:v>
                </c:pt>
                <c:pt idx="4">
                  <c:v>0.01004452871679414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26995687860259802</c:v>
                </c:pt>
                <c:pt idx="7">
                  <c:v>0.00922204947603776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3</c:v>
                </c:pt>
                <c:pt idx="2">
                  <c:v>0.07109906005240599</c:v>
                </c:pt>
                <c:pt idx="3">
                  <c:v>0.2764396051594939</c:v>
                </c:pt>
                <c:pt idx="4">
                  <c:v>0.1644229815129468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398190236829365</c:v>
                </c:pt>
                <c:pt idx="1">
                  <c:v>0.12114250160819365</c:v>
                </c:pt>
                <c:pt idx="2">
                  <c:v>0.06889813844343272</c:v>
                </c:pt>
                <c:pt idx="3">
                  <c:v>0.2805879716201998</c:v>
                </c:pt>
                <c:pt idx="4">
                  <c:v>0.16666104669686718</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997586430779412</c:v>
                </c:pt>
                <c:pt idx="3">
                  <c:v>0.0415622577863633</c:v>
                </c:pt>
                <c:pt idx="4">
                  <c:v>0.016612395693300967</c:v>
                </c:pt>
                <c:pt idx="5">
                  <c:v>0.0011486555070291235</c:v>
                </c:pt>
                <c:pt idx="6">
                  <c:v>0.011463905030778479</c:v>
                </c:pt>
                <c:pt idx="7">
                  <c:v>0.00100399988365118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08188210066870043</c:v>
                </c:pt>
                <c:pt idx="6">
                  <c:v>0.000816187563113949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954885988726396</c:v>
                </c:pt>
                <c:pt idx="2">
                  <c:v>0.02109009142295124</c:v>
                </c:pt>
                <c:pt idx="3">
                  <c:v>0.1302949463693314</c:v>
                </c:pt>
                <c:pt idx="4">
                  <c:v>0.0504086092396908</c:v>
                </c:pt>
                <c:pt idx="5">
                  <c:v>0.029705834385749356</c:v>
                </c:pt>
                <c:pt idx="6">
                  <c:v>0.010498695956007732</c:v>
                </c:pt>
                <c:pt idx="7">
                  <c:v>0.01260153542560618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932941997960547</c:v>
                </c:pt>
                <c:pt idx="2">
                  <c:v>0.010844622730027793</c:v>
                </c:pt>
                <c:pt idx="3">
                  <c:v>0.023737705947028474</c:v>
                </c:pt>
                <c:pt idx="4">
                  <c:v>0.005135054804060108</c:v>
                </c:pt>
                <c:pt idx="5">
                  <c:v>0.02071809374898829</c:v>
                </c:pt>
                <c:pt idx="6">
                  <c:v>0.001158355921179251</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09736664678207259</c:v>
                </c:pt>
                <c:pt idx="2">
                  <c:v>0.011774831955033082</c:v>
                </c:pt>
                <c:pt idx="3">
                  <c:v>0.012446836089642864</c:v>
                </c:pt>
                <c:pt idx="4">
                  <c:v>0.016993423137073048</c:v>
                </c:pt>
                <c:pt idx="5">
                  <c:v>0.00653239876047467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3</c:v>
                </c:pt>
                <c:pt idx="2">
                  <c:v>0.07109906005240599</c:v>
                </c:pt>
                <c:pt idx="3">
                  <c:v>0.2764396051594939</c:v>
                </c:pt>
                <c:pt idx="4">
                  <c:v>0.1644229815129468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527982255215943</c:v>
                </c:pt>
                <c:pt idx="6">
                  <c:v>0.007370334043009718</c:v>
                </c:pt>
                <c:pt idx="7">
                  <c:v>0.001855531329915416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398190236829365</c:v>
                </c:pt>
                <c:pt idx="1">
                  <c:v>0.12114250160819365</c:v>
                </c:pt>
                <c:pt idx="2">
                  <c:v>0.06889813844343272</c:v>
                </c:pt>
                <c:pt idx="3">
                  <c:v>0.2805879716201998</c:v>
                </c:pt>
                <c:pt idx="4">
                  <c:v>0.16666104669686718</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191238987688108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6256991100346679</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213944414383356</c:v>
                </c:pt>
                <c:pt idx="3">
                  <c:v>0.0005116754700296689</c:v>
                </c:pt>
                <c:pt idx="4">
                  <c:v>0.0038951763522275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663212631781549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3</c:v>
                </c:pt>
                <c:pt idx="1">
                  <c:v>0.10259212167398468</c:v>
                </c:pt>
                <c:pt idx="2">
                  <c:v>0.044696005610716065</c:v>
                </c:pt>
                <c:pt idx="3">
                  <c:v>0.1803136678177994</c:v>
                </c:pt>
                <c:pt idx="4">
                  <c:v>0.12735227071905772</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597598313584759</c:v>
                </c:pt>
                <c:pt idx="1">
                  <c:v>0.0958160655331802</c:v>
                </c:pt>
                <c:pt idx="2">
                  <c:v>0.04033257280893811</c:v>
                </c:pt>
                <c:pt idx="3">
                  <c:v>0.18244703884368935</c:v>
                </c:pt>
                <c:pt idx="4">
                  <c:v>0.12933676829071597</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0032101432021075</c:v>
                </c:pt>
                <c:pt idx="4">
                  <c:v>0.0006297495616976059</c:v>
                </c:pt>
                <c:pt idx="5">
                  <c:v>0.007144356452046402</c:v>
                </c:pt>
                <c:pt idx="6">
                  <c:v>0.000798657009269674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35855365303932</c:v>
                </c:pt>
                <c:pt idx="1">
                  <c:v>0.028339594817435244</c:v>
                </c:pt>
                <c:pt idx="2">
                  <c:v>0.020757460689461934</c:v>
                </c:pt>
                <c:pt idx="3">
                  <c:v>0.061364189974032965</c:v>
                </c:pt>
                <c:pt idx="4">
                  <c:v>0.06275600663322818</c:v>
                </c:pt>
                <c:pt idx="5">
                  <c:v>0.01978414093937737</c:v>
                </c:pt>
                <c:pt idx="6">
                  <c:v>0.22155747561606717</c:v>
                </c:pt>
                <c:pt idx="7">
                  <c:v>0.06549353118082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2074971036023563</c:v>
                </c:pt>
                <c:pt idx="3">
                  <c:v>0.003608117377875663</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800701822915228</c:v>
                </c:pt>
                <c:pt idx="2">
                  <c:v>0.014555866266425885</c:v>
                </c:pt>
                <c:pt idx="3">
                  <c:v>0.07424910582297617</c:v>
                </c:pt>
                <c:pt idx="4">
                  <c:v>0.04394962623777079</c:v>
                </c:pt>
                <c:pt idx="5">
                  <c:v>0.018491743955111023</c:v>
                </c:pt>
                <c:pt idx="6">
                  <c:v>0.013987899449383227</c:v>
                </c:pt>
                <c:pt idx="7">
                  <c:v>0.00683895586523243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8619084149721175</c:v>
                </c:pt>
                <c:pt idx="7">
                  <c:v>0.01388674382083229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3</c:v>
                </c:pt>
                <c:pt idx="1">
                  <c:v>0.10259212167398468</c:v>
                </c:pt>
                <c:pt idx="2">
                  <c:v>0.044696005610716065</c:v>
                </c:pt>
                <c:pt idx="3">
                  <c:v>0.1803136678177994</c:v>
                </c:pt>
                <c:pt idx="4">
                  <c:v>0.12735227071905772</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597598313584759</c:v>
                </c:pt>
                <c:pt idx="1">
                  <c:v>0.0958160655331802</c:v>
                </c:pt>
                <c:pt idx="2">
                  <c:v>0.04033257280893811</c:v>
                </c:pt>
                <c:pt idx="3">
                  <c:v>0.18244703884368935</c:v>
                </c:pt>
                <c:pt idx="4">
                  <c:v>0.12933676829071597</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8252845746087656</c:v>
                </c:pt>
                <c:pt idx="3">
                  <c:v>0.023371599934697704</c:v>
                </c:pt>
                <c:pt idx="4">
                  <c:v>0.009998195745854034</c:v>
                </c:pt>
                <c:pt idx="5">
                  <c:v>0.0038899292537360585</c:v>
                </c:pt>
                <c:pt idx="6">
                  <c:v>0.04470456424380656</c:v>
                </c:pt>
                <c:pt idx="7">
                  <c:v>0.003567517797533658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527982255215943</c:v>
                </c:pt>
                <c:pt idx="6">
                  <c:v>0.007370334043009718</c:v>
                </c:pt>
                <c:pt idx="7">
                  <c:v>0.001855531329915416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800701822915228</c:v>
                </c:pt>
                <c:pt idx="2">
                  <c:v>0.014555866266425885</c:v>
                </c:pt>
                <c:pt idx="3">
                  <c:v>0.07424910582297617</c:v>
                </c:pt>
                <c:pt idx="4">
                  <c:v>0.04394962623777079</c:v>
                </c:pt>
                <c:pt idx="5">
                  <c:v>0.018491743955111023</c:v>
                </c:pt>
                <c:pt idx="6">
                  <c:v>0.013987899449383227</c:v>
                </c:pt>
                <c:pt idx="7">
                  <c:v>0.00683895586523243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597598313584759</c:v>
                </c:pt>
                <c:pt idx="1">
                  <c:v>0.0958160655331802</c:v>
                </c:pt>
                <c:pt idx="2">
                  <c:v>0.04033257280893811</c:v>
                </c:pt>
                <c:pt idx="3">
                  <c:v>0.18244703884368935</c:v>
                </c:pt>
                <c:pt idx="4">
                  <c:v>0.12933676829071597</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8748642855394125</c:v>
                </c:pt>
                <c:pt idx="2">
                  <c:v>0.008191584663003926</c:v>
                </c:pt>
                <c:pt idx="3">
                  <c:v>0.012513416174792845</c:v>
                </c:pt>
                <c:pt idx="4">
                  <c:v>0.00306869797584349</c:v>
                </c:pt>
                <c:pt idx="5">
                  <c:v>0.009524255465900472</c:v>
                </c:pt>
                <c:pt idx="6">
                  <c:v>0.0005439663229252583</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882180229083612</c:v>
                </c:pt>
                <c:pt idx="2">
                  <c:v>0.006291306144451721</c:v>
                </c:pt>
                <c:pt idx="3">
                  <c:v>0.0017981341523056744</c:v>
                </c:pt>
                <c:pt idx="4">
                  <c:v>0.008276632901914008</c:v>
                </c:pt>
                <c:pt idx="5">
                  <c:v>0.004048083001799764</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2110687914043024</c:v>
                </c:pt>
                <c:pt idx="2">
                  <c:v>0.005001760847670373</c:v>
                </c:pt>
                <c:pt idx="3">
                  <c:v>0.01026616758448803</c:v>
                </c:pt>
                <c:pt idx="4">
                  <c:v>0.008989975463874733</c:v>
                </c:pt>
                <c:pt idx="5">
                  <c:v>0.004991625586411769</c:v>
                </c:pt>
                <c:pt idx="7">
                  <c:v>0.000523624285532255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4938144675381161</c:v>
                </c:pt>
                <c:pt idx="3">
                  <c:v>0.008157271011193115</c:v>
                </c:pt>
                <c:pt idx="4">
                  <c:v>0.008853985982779452</c:v>
                </c:pt>
                <c:pt idx="5">
                  <c:v>0.0027086409363216994</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3</c:v>
                </c:pt>
                <c:pt idx="1">
                  <c:v>0.10259212167398468</c:v>
                </c:pt>
                <c:pt idx="2">
                  <c:v>0.044696005610716065</c:v>
                </c:pt>
                <c:pt idx="3">
                  <c:v>0.1803136678177994</c:v>
                </c:pt>
                <c:pt idx="4">
                  <c:v>0.12735227071905772</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597598313584759</c:v>
                </c:pt>
                <c:pt idx="1">
                  <c:v>0.0958160655331802</c:v>
                </c:pt>
                <c:pt idx="2">
                  <c:v>0.04033257280893811</c:v>
                </c:pt>
                <c:pt idx="3">
                  <c:v>0.18244703884368935</c:v>
                </c:pt>
                <c:pt idx="4">
                  <c:v>0.12933676829071597</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826398673046111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8263986730461116</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419235138340387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2110687914043024</c:v>
                </c:pt>
                <c:pt idx="2">
                  <c:v>0.005001760847670373</c:v>
                </c:pt>
                <c:pt idx="3">
                  <c:v>0.01026616758448803</c:v>
                </c:pt>
                <c:pt idx="4">
                  <c:v>0.008989975463874733</c:v>
                </c:pt>
                <c:pt idx="5">
                  <c:v>0.004991625586411769</c:v>
                </c:pt>
                <c:pt idx="7">
                  <c:v>0.000523624285532255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239044660545438</c:v>
                </c:pt>
                <c:pt idx="3">
                  <c:v>0.00163589184025745</c:v>
                </c:pt>
                <c:pt idx="4">
                  <c:v>0.00301321464829061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15522695977906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7</c:v>
                </c:pt>
                <c:pt idx="2">
                  <c:v>0.04693510634994417</c:v>
                </c:pt>
                <c:pt idx="3">
                  <c:v>0.18721915904999423</c:v>
                </c:pt>
                <c:pt idx="4">
                  <c:v>0.11397427204804374</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463130398387747</c:v>
                </c:pt>
                <c:pt idx="1">
                  <c:v>0.10089685436631027</c:v>
                </c:pt>
                <c:pt idx="2">
                  <c:v>0.04220597803109721</c:v>
                </c:pt>
                <c:pt idx="3">
                  <c:v>0.19017620271128785</c:v>
                </c:pt>
                <c:pt idx="4">
                  <c:v>0.11554308137836729</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080096332369632</c:v>
                </c:pt>
                <c:pt idx="4">
                  <c:v>0.0006702566477559338</c:v>
                </c:pt>
                <c:pt idx="5">
                  <c:v>0.007460807899391854</c:v>
                </c:pt>
                <c:pt idx="6">
                  <c:v>0.00086150973371730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54315999800493</c:v>
                </c:pt>
                <c:pt idx="1">
                  <c:v>0.029970561863713184</c:v>
                </c:pt>
                <c:pt idx="2">
                  <c:v>0.021275826452690442</c:v>
                </c:pt>
                <c:pt idx="3">
                  <c:v>0.06420743887990472</c:v>
                </c:pt>
                <c:pt idx="4">
                  <c:v>0.0515658244689362</c:v>
                </c:pt>
                <c:pt idx="5">
                  <c:v>0.016247160040633757</c:v>
                </c:pt>
                <c:pt idx="6">
                  <c:v>0.21486011847991565</c:v>
                </c:pt>
                <c:pt idx="7">
                  <c:v>0.070227843358362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21274348880824717</c:v>
                </c:pt>
                <c:pt idx="3">
                  <c:v>0.003908631404487303</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8314179712304</c:v>
                </c:pt>
                <c:pt idx="7">
                  <c:v>0.01483537635576154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7</c:v>
                </c:pt>
                <c:pt idx="2">
                  <c:v>0.04693510634994417</c:v>
                </c:pt>
                <c:pt idx="3">
                  <c:v>0.18721915904999423</c:v>
                </c:pt>
                <c:pt idx="4">
                  <c:v>0.11397427204804374</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463130398387747</c:v>
                </c:pt>
                <c:pt idx="1">
                  <c:v>0.10089685436631027</c:v>
                </c:pt>
                <c:pt idx="2">
                  <c:v>0.04220597803109721</c:v>
                </c:pt>
                <c:pt idx="3">
                  <c:v>0.19017620271128785</c:v>
                </c:pt>
                <c:pt idx="4">
                  <c:v>0.11554308137836729</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9270974253293454</c:v>
                </c:pt>
                <c:pt idx="3">
                  <c:v>0.024548030078791416</c:v>
                </c:pt>
                <c:pt idx="4">
                  <c:v>0.009810426956057852</c:v>
                </c:pt>
                <c:pt idx="5">
                  <c:v>0.003996959760887519</c:v>
                </c:pt>
                <c:pt idx="6">
                  <c:v>0.04456290436752407</c:v>
                </c:pt>
                <c:pt idx="7">
                  <c:v>0.003555844543978521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6581820135669217</c:v>
                </c:pt>
                <c:pt idx="6">
                  <c:v>0.007980159161629585</c:v>
                </c:pt>
                <c:pt idx="7">
                  <c:v>0.00203604059104514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033057168921635</c:v>
                </c:pt>
                <c:pt idx="2">
                  <c:v>0.015575293480263666</c:v>
                </c:pt>
                <c:pt idx="3">
                  <c:v>0.07618113456974296</c:v>
                </c:pt>
                <c:pt idx="4">
                  <c:v>0.041353612119789246</c:v>
                </c:pt>
                <c:pt idx="5">
                  <c:v>0.019920196094519033</c:v>
                </c:pt>
                <c:pt idx="6">
                  <c:v>0.01489857284030667</c:v>
                </c:pt>
                <c:pt idx="7">
                  <c:v>0.00741115381845300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9682071049111714</c:v>
                </c:pt>
                <c:pt idx="2">
                  <c:v>0.006816905246935337</c:v>
                </c:pt>
                <c:pt idx="3">
                  <c:v>0.0018697556996918531</c:v>
                </c:pt>
                <c:pt idx="4">
                  <c:v>0.0087519469041307</c:v>
                </c:pt>
                <c:pt idx="5">
                  <c:v>0.004394769335720244</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3186583260789222</c:v>
                </c:pt>
                <c:pt idx="2">
                  <c:v>0.005335637912701739</c:v>
                </c:pt>
                <c:pt idx="3">
                  <c:v>0.01101332601808888</c:v>
                </c:pt>
                <c:pt idx="4">
                  <c:v>0.009070118125323575</c:v>
                </c:pt>
                <c:pt idx="5">
                  <c:v>0.005345086986181991</c:v>
                </c:pt>
                <c:pt idx="7">
                  <c:v>0.000567135505498368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5265703801173375</c:v>
                </c:pt>
                <c:pt idx="3">
                  <c:v>0.008802119995827154</c:v>
                </c:pt>
                <c:pt idx="4">
                  <c:v>0.008921226949209146</c:v>
                </c:pt>
                <c:pt idx="5">
                  <c:v>0.0029451997091631587</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7</c:v>
                </c:pt>
                <c:pt idx="2">
                  <c:v>0.04693510634994417</c:v>
                </c:pt>
                <c:pt idx="3">
                  <c:v>0.18721915904999423</c:v>
                </c:pt>
                <c:pt idx="4">
                  <c:v>0.11397427204804374</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463130398387747</c:v>
                </c:pt>
                <c:pt idx="1">
                  <c:v>0.10089685436631027</c:v>
                </c:pt>
                <c:pt idx="2">
                  <c:v>0.04220597803109721</c:v>
                </c:pt>
                <c:pt idx="3">
                  <c:v>0.19017620271128785</c:v>
                </c:pt>
                <c:pt idx="4">
                  <c:v>0.11554308137836729</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905301930891949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9053019308919493</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65226862882689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6088143985872545</c:v>
                </c:pt>
                <c:pt idx="3">
                  <c:v>0.001767127827496638</c:v>
                </c:pt>
                <c:pt idx="4">
                  <c:v>0.00307284306050448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1659490452277403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3</c:v>
                </c:pt>
                <c:pt idx="1">
                  <c:v>0.10259212167398468</c:v>
                </c:pt>
                <c:pt idx="2">
                  <c:v>0.044696005610716065</c:v>
                </c:pt>
                <c:pt idx="3">
                  <c:v>0.1803136678177994</c:v>
                </c:pt>
                <c:pt idx="4">
                  <c:v>0.12735227071905772</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4802204157137845</c:v>
                </c:pt>
                <c:pt idx="5">
                  <c:v>0.010115882321696993</c:v>
                </c:pt>
                <c:pt idx="6">
                  <c:v>0.001133482661767900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678503899595548</c:v>
                </c:pt>
                <c:pt idx="1">
                  <c:v>0.01456329797835265</c:v>
                </c:pt>
                <c:pt idx="2">
                  <c:v>0.009726616783803904</c:v>
                </c:pt>
                <c:pt idx="3">
                  <c:v>0.04463979907578906</c:v>
                </c:pt>
                <c:pt idx="4">
                  <c:v>0.03153846315593741</c:v>
                </c:pt>
                <c:pt idx="5">
                  <c:v>0.011474897532254402</c:v>
                </c:pt>
                <c:pt idx="6">
                  <c:v>0.2767775846686866</c:v>
                </c:pt>
                <c:pt idx="7">
                  <c:v>0.070053601473078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597598313584759</c:v>
                </c:pt>
                <c:pt idx="1">
                  <c:v>0.0958160655331802</c:v>
                </c:pt>
                <c:pt idx="2">
                  <c:v>0.04033257280893811</c:v>
                </c:pt>
                <c:pt idx="3">
                  <c:v>0.18244703884368935</c:v>
                </c:pt>
                <c:pt idx="4">
                  <c:v>0.12933676829071597</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972603019918914</c:v>
                </c:pt>
                <c:pt idx="3">
                  <c:v>0.002041406316036011</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12722665797452437</c:v>
                </c:pt>
                <c:pt idx="7">
                  <c:v>0.01924719060465695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362315907707282</c:v>
                </c:pt>
                <c:pt idx="3">
                  <c:v>0.011283855160371165</c:v>
                </c:pt>
                <c:pt idx="4">
                  <c:v>0.004486676888168998</c:v>
                </c:pt>
                <c:pt idx="5">
                  <c:v>0.006232999692058553</c:v>
                </c:pt>
                <c:pt idx="6">
                  <c:v>0.07054333872145166</c:v>
                </c:pt>
                <c:pt idx="7">
                  <c:v>0.00555910183258079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318006671776466</c:v>
                </c:pt>
                <c:pt idx="6">
                  <c:v>0.013600198927167392</c:v>
                </c:pt>
                <c:pt idx="7">
                  <c:v>0.003493546701591578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826398673046111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518669430718603</c:v>
                </c:pt>
                <c:pt idx="2">
                  <c:v>0.011282280617498853</c:v>
                </c:pt>
                <c:pt idx="3">
                  <c:v>0.033794613856060744</c:v>
                </c:pt>
                <c:pt idx="4">
                  <c:v>0.03375917116558429</c:v>
                </c:pt>
                <c:pt idx="5">
                  <c:v>0.012292991369006958</c:v>
                </c:pt>
                <c:pt idx="6">
                  <c:v>0.01836937945879565</c:v>
                </c:pt>
                <c:pt idx="7">
                  <c:v>0.003364515059855583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266764602767385</c:v>
                </c:pt>
                <c:pt idx="2">
                  <c:v>0.004290697720323713</c:v>
                </c:pt>
                <c:pt idx="4">
                  <c:v>0.006036305140593729</c:v>
                </c:pt>
                <c:pt idx="5">
                  <c:v>0.003825488195604161</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5910760716935357</c:v>
                </c:pt>
                <c:pt idx="3">
                  <c:v>0.00991268991036342</c:v>
                </c:pt>
                <c:pt idx="4">
                  <c:v>0.0028875603638751205</c:v>
                </c:pt>
                <c:pt idx="5">
                  <c:v>0.004426326067676305</c:v>
                </c:pt>
                <c:pt idx="7">
                  <c:v>0.000888778031663136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7116358181102212</c:v>
                </c:pt>
                <c:pt idx="4">
                  <c:v>0.002675805314828829</c:v>
                </c:pt>
                <c:pt idx="5">
                  <c:v>0.0020765215175701</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08224680107053819</c:v>
                </c:pt>
                <c:pt idx="7">
                  <c:v>0.001621410733422529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333806811121813</c:v>
                </c:pt>
                <c:pt idx="3">
                  <c:v>0.0027527502396575065</c:v>
                </c:pt>
                <c:pt idx="4">
                  <c:v>0.002435391488778450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24421078576564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419235138340387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6802447120148726</c:v>
                </c:pt>
                <c:pt idx="2">
                  <c:v>0.04869440991895622</c:v>
                </c:pt>
                <c:pt idx="3">
                  <c:v>0.04088996951871713</c:v>
                </c:pt>
                <c:pt idx="4">
                  <c:v>0.25361554804749753</c:v>
                </c:pt>
                <c:pt idx="5">
                  <c:v>0.11838895636175994</c:v>
                </c:pt>
                <c:pt idx="6">
                  <c:v>0.16550560222536265</c:v>
                </c:pt>
                <c:pt idx="7">
                  <c:v>0.00871175347447606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4769014975253756</c:v>
                </c:pt>
                <c:pt idx="3">
                  <c:v>0.0015020415940527627</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115986623375866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0032101432021075</c:v>
                </c:pt>
                <c:pt idx="4">
                  <c:v>0.0006297495616976059</c:v>
                </c:pt>
                <c:pt idx="5">
                  <c:v>0.007144356452046402</c:v>
                </c:pt>
                <c:pt idx="6">
                  <c:v>0.000798657009269674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7217197951360326</c:v>
                </c:pt>
                <c:pt idx="3">
                  <c:v>0.0010058958992497093</c:v>
                </c:pt>
                <c:pt idx="4">
                  <c:v>0.0470568817713853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9380089971689055</c:v>
                </c:pt>
                <c:pt idx="2">
                  <c:v>0.001931840369391561</c:v>
                </c:pt>
                <c:pt idx="3">
                  <c:v>0.05746959791053882</c:v>
                </c:pt>
                <c:pt idx="4">
                  <c:v>0.12898938281725697</c:v>
                </c:pt>
                <c:pt idx="5">
                  <c:v>0.015122509606738709</c:v>
                </c:pt>
                <c:pt idx="6">
                  <c:v>0.000862270577499066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6032822056444911</c:v>
                </c:pt>
                <c:pt idx="4">
                  <c:v>0.0007756166333761789</c:v>
                </c:pt>
                <c:pt idx="5">
                  <c:v>0.00723081682353610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170594247374988</c:v>
                </c:pt>
                <c:pt idx="4">
                  <c:v>0.007861850633016637</c:v>
                </c:pt>
                <c:pt idx="5">
                  <c:v>0.00443634681334110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239044660545438</c:v>
                </c:pt>
                <c:pt idx="3">
                  <c:v>0.00163589184025745</c:v>
                </c:pt>
                <c:pt idx="4">
                  <c:v>0.00301321464829061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8288657214152296</c:v>
                </c:pt>
                <c:pt idx="4">
                  <c:v>0.007780622534382106</c:v>
                </c:pt>
                <c:pt idx="5">
                  <c:v>0.004436346813341101</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616246226144931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9435298747451548</c:v>
                </c:pt>
                <c:pt idx="4">
                  <c:v>0.0144795070204456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2214049764099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3</c:v>
                </c:pt>
                <c:pt idx="2">
                  <c:v>0.07109906005240599</c:v>
                </c:pt>
                <c:pt idx="3">
                  <c:v>0.2764396051594939</c:v>
                </c:pt>
                <c:pt idx="4">
                  <c:v>0.1644229815129468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398190236829365</c:v>
                </c:pt>
                <c:pt idx="1">
                  <c:v>0.12114250160819365</c:v>
                </c:pt>
                <c:pt idx="2">
                  <c:v>0.06889813844343272</c:v>
                </c:pt>
                <c:pt idx="3">
                  <c:v>0.2805879716201998</c:v>
                </c:pt>
                <c:pt idx="4">
                  <c:v>0.16666104669686718</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571296070994586</c:v>
                </c:pt>
                <c:pt idx="4">
                  <c:v>0.0015081578836701527</c:v>
                </c:pt>
                <c:pt idx="5">
                  <c:v>0.004085336247008824</c:v>
                </c:pt>
                <c:pt idx="6">
                  <c:v>0.000515957767053843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15522695977906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22587460929958045</c:v>
                </c:pt>
                <c:pt idx="1">
                  <c:v>0.04962238882232955</c:v>
                </c:pt>
                <c:pt idx="2">
                  <c:v>0.03598938070483513</c:v>
                </c:pt>
                <c:pt idx="3">
                  <c:v>0.08924047418819976</c:v>
                </c:pt>
                <c:pt idx="4">
                  <c:v>0.0772432843909047</c:v>
                </c:pt>
                <c:pt idx="5">
                  <c:v>0.022049272993968392</c:v>
                </c:pt>
                <c:pt idx="6">
                  <c:v>0.1359438627780665</c:v>
                </c:pt>
                <c:pt idx="7">
                  <c:v>0.0705738942403343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3598676066138687</c:v>
                </c:pt>
                <c:pt idx="3">
                  <c:v>0.006304740849805183</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26995687860259802</c:v>
                </c:pt>
                <c:pt idx="7">
                  <c:v>0.00922204947603776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3</c:v>
                </c:pt>
                <c:pt idx="2">
                  <c:v>0.07109906005240599</c:v>
                </c:pt>
                <c:pt idx="3">
                  <c:v>0.2764396051594939</c:v>
                </c:pt>
                <c:pt idx="4">
                  <c:v>0.1644229815129468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398190236829365</c:v>
                </c:pt>
                <c:pt idx="1">
                  <c:v>0.12114250160819365</c:v>
                </c:pt>
                <c:pt idx="2">
                  <c:v>0.06889813844343272</c:v>
                </c:pt>
                <c:pt idx="3">
                  <c:v>0.2805879716201998</c:v>
                </c:pt>
                <c:pt idx="4">
                  <c:v>0.16666104669686718</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997586430779412</c:v>
                </c:pt>
                <c:pt idx="3">
                  <c:v>0.0415622577863633</c:v>
                </c:pt>
                <c:pt idx="4">
                  <c:v>0.016612395693300967</c:v>
                </c:pt>
                <c:pt idx="5">
                  <c:v>0.0011486555070291235</c:v>
                </c:pt>
                <c:pt idx="6">
                  <c:v>0.011463905030778479</c:v>
                </c:pt>
                <c:pt idx="7">
                  <c:v>0.00100399988365118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08188210066870043</c:v>
                </c:pt>
                <c:pt idx="6">
                  <c:v>0.000816187563113949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954885988726396</c:v>
                </c:pt>
                <c:pt idx="2">
                  <c:v>0.02109009142295124</c:v>
                </c:pt>
                <c:pt idx="3">
                  <c:v>0.1302949463693314</c:v>
                </c:pt>
                <c:pt idx="4">
                  <c:v>0.0504086092396908</c:v>
                </c:pt>
                <c:pt idx="5">
                  <c:v>0.029705834385749356</c:v>
                </c:pt>
                <c:pt idx="6">
                  <c:v>0.010498695956007732</c:v>
                </c:pt>
                <c:pt idx="7">
                  <c:v>0.01260153542560618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94357163802176</c:v>
                </c:pt>
                <c:pt idx="2">
                  <c:v>0.010062500836550648</c:v>
                </c:pt>
                <c:pt idx="3">
                  <c:v>0.0039858045867305035</c:v>
                </c:pt>
                <c:pt idx="4">
                  <c:v>0.012244423375988338</c:v>
                </c:pt>
                <c:pt idx="5">
                  <c:v>0.005121215027550299</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09736664678207259</c:v>
                </c:pt>
                <c:pt idx="2">
                  <c:v>0.011774831955033082</c:v>
                </c:pt>
                <c:pt idx="3">
                  <c:v>0.012446836089642864</c:v>
                </c:pt>
                <c:pt idx="4">
                  <c:v>0.016993423137073048</c:v>
                </c:pt>
                <c:pt idx="5">
                  <c:v>0.00653239876047467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1161533665059506</c:v>
                </c:pt>
                <c:pt idx="3">
                  <c:v>0.010978186240580338</c:v>
                </c:pt>
                <c:pt idx="4">
                  <c:v>0.016924505657144723</c:v>
                </c:pt>
                <c:pt idx="5">
                  <c:v>0.004062739169894072</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3</c:v>
                </c:pt>
                <c:pt idx="2">
                  <c:v>0.07109906005240599</c:v>
                </c:pt>
                <c:pt idx="3">
                  <c:v>0.2764396051594939</c:v>
                </c:pt>
                <c:pt idx="4">
                  <c:v>0.1644229815129468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398190236829365</c:v>
                </c:pt>
                <c:pt idx="1">
                  <c:v>0.12114250160819365</c:v>
                </c:pt>
                <c:pt idx="2">
                  <c:v>0.06889813844343272</c:v>
                </c:pt>
                <c:pt idx="3">
                  <c:v>0.2805879716201998</c:v>
                </c:pt>
                <c:pt idx="4">
                  <c:v>0.16666104669686718</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191238987688108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19123898768810827</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6256991100346679</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213944414383356</c:v>
                </c:pt>
                <c:pt idx="3">
                  <c:v>0.0005116754700296689</c:v>
                </c:pt>
                <c:pt idx="4">
                  <c:v>0.0038951763522275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09098620926539454</c:v>
                </c:pt>
                <c:pt idx="4">
                  <c:v>0.0010122007600264916</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663212631781549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3</c:v>
                </c:pt>
                <c:pt idx="1">
                  <c:v>0.10259212167398468</c:v>
                </c:pt>
                <c:pt idx="2">
                  <c:v>0.044696005610716065</c:v>
                </c:pt>
                <c:pt idx="3">
                  <c:v>0.1803136678177994</c:v>
                </c:pt>
                <c:pt idx="4">
                  <c:v>0.12735227071905772</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597598313584759</c:v>
                </c:pt>
                <c:pt idx="1">
                  <c:v>0.0958160655331802</c:v>
                </c:pt>
                <c:pt idx="2">
                  <c:v>0.04033257280893811</c:v>
                </c:pt>
                <c:pt idx="3">
                  <c:v>0.18244703884368935</c:v>
                </c:pt>
                <c:pt idx="4">
                  <c:v>0.12933676829071597</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0032101432021075</c:v>
                </c:pt>
                <c:pt idx="4">
                  <c:v>0.0006297495616976059</c:v>
                </c:pt>
                <c:pt idx="5">
                  <c:v>0.007144356452046402</c:v>
                </c:pt>
                <c:pt idx="6">
                  <c:v>0.000798657009269674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35855365303932</c:v>
                </c:pt>
                <c:pt idx="1">
                  <c:v>0.028339594817435244</c:v>
                </c:pt>
                <c:pt idx="2">
                  <c:v>0.020757460689461934</c:v>
                </c:pt>
                <c:pt idx="3">
                  <c:v>0.061364189974032965</c:v>
                </c:pt>
                <c:pt idx="4">
                  <c:v>0.06275600663322818</c:v>
                </c:pt>
                <c:pt idx="5">
                  <c:v>0.01978414093937737</c:v>
                </c:pt>
                <c:pt idx="6">
                  <c:v>0.22155747561606717</c:v>
                </c:pt>
                <c:pt idx="7">
                  <c:v>0.06549353118082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7</c:v>
                </c:pt>
                <c:pt idx="2">
                  <c:v>0.04693510634994417</c:v>
                </c:pt>
                <c:pt idx="3">
                  <c:v>0.18721915904999423</c:v>
                </c:pt>
                <c:pt idx="4">
                  <c:v>0.11397427204804374</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8619084149721175</c:v>
                </c:pt>
                <c:pt idx="7">
                  <c:v>0.01388674382083229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3</c:v>
                </c:pt>
                <c:pt idx="1">
                  <c:v>0.10259212167398468</c:v>
                </c:pt>
                <c:pt idx="2">
                  <c:v>0.044696005610716065</c:v>
                </c:pt>
                <c:pt idx="3">
                  <c:v>0.1803136678177994</c:v>
                </c:pt>
                <c:pt idx="4">
                  <c:v>0.12735227071905772</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597598313584759</c:v>
                </c:pt>
                <c:pt idx="1">
                  <c:v>0.0958160655331802</c:v>
                </c:pt>
                <c:pt idx="2">
                  <c:v>0.04033257280893811</c:v>
                </c:pt>
                <c:pt idx="3">
                  <c:v>0.18244703884368935</c:v>
                </c:pt>
                <c:pt idx="4">
                  <c:v>0.12933676829071597</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8252845746087656</c:v>
                </c:pt>
                <c:pt idx="3">
                  <c:v>0.023371599934697704</c:v>
                </c:pt>
                <c:pt idx="4">
                  <c:v>0.009998195745854034</c:v>
                </c:pt>
                <c:pt idx="5">
                  <c:v>0.0038899292537360585</c:v>
                </c:pt>
                <c:pt idx="6">
                  <c:v>0.04470456424380656</c:v>
                </c:pt>
                <c:pt idx="7">
                  <c:v>0.003567517797533658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527982255215943</c:v>
                </c:pt>
                <c:pt idx="6">
                  <c:v>0.007370334043009718</c:v>
                </c:pt>
                <c:pt idx="7">
                  <c:v>0.001855531329915416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800701822915228</c:v>
                </c:pt>
                <c:pt idx="2">
                  <c:v>0.014555866266425885</c:v>
                </c:pt>
                <c:pt idx="3">
                  <c:v>0.07424910582297617</c:v>
                </c:pt>
                <c:pt idx="4">
                  <c:v>0.04394962623777079</c:v>
                </c:pt>
                <c:pt idx="5">
                  <c:v>0.018491743955111023</c:v>
                </c:pt>
                <c:pt idx="6">
                  <c:v>0.013987899449383227</c:v>
                </c:pt>
                <c:pt idx="7">
                  <c:v>0.00683895586523243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463130398387747</c:v>
                </c:pt>
                <c:pt idx="1">
                  <c:v>0.10089685436631027</c:v>
                </c:pt>
                <c:pt idx="2">
                  <c:v>0.04220597803109721</c:v>
                </c:pt>
                <c:pt idx="3">
                  <c:v>0.19017620271128785</c:v>
                </c:pt>
                <c:pt idx="4">
                  <c:v>0.11554308137836729</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31364620109288234</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2110687914043024</c:v>
                </c:pt>
                <c:pt idx="2">
                  <c:v>0.005001760847670373</c:v>
                </c:pt>
                <c:pt idx="3">
                  <c:v>0.01026616758448803</c:v>
                </c:pt>
                <c:pt idx="4">
                  <c:v>0.008989975463874733</c:v>
                </c:pt>
                <c:pt idx="5">
                  <c:v>0.004991625586411769</c:v>
                </c:pt>
                <c:pt idx="7">
                  <c:v>0.000523624285532255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3</c:v>
                </c:pt>
                <c:pt idx="1">
                  <c:v>0.10259212167398468</c:v>
                </c:pt>
                <c:pt idx="2">
                  <c:v>0.044696005610716065</c:v>
                </c:pt>
                <c:pt idx="3">
                  <c:v>0.1803136678177994</c:v>
                </c:pt>
                <c:pt idx="4">
                  <c:v>0.12735227071905772</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597598313584759</c:v>
                </c:pt>
                <c:pt idx="1">
                  <c:v>0.0958160655331802</c:v>
                </c:pt>
                <c:pt idx="2">
                  <c:v>0.04033257280893811</c:v>
                </c:pt>
                <c:pt idx="3">
                  <c:v>0.18244703884368935</c:v>
                </c:pt>
                <c:pt idx="4">
                  <c:v>0.12933676829071597</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826398673046111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419235138340387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080096332369632</c:v>
                </c:pt>
                <c:pt idx="4">
                  <c:v>0.0006702566477559338</c:v>
                </c:pt>
                <c:pt idx="5">
                  <c:v>0.007460807899391854</c:v>
                </c:pt>
                <c:pt idx="6">
                  <c:v>0.00086150973371730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239044660545438</c:v>
                </c:pt>
                <c:pt idx="3">
                  <c:v>0.00163589184025745</c:v>
                </c:pt>
                <c:pt idx="4">
                  <c:v>0.00301321464829061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15522695977906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7</c:v>
                </c:pt>
                <c:pt idx="2">
                  <c:v>0.04693510634994417</c:v>
                </c:pt>
                <c:pt idx="3">
                  <c:v>0.18721915904999423</c:v>
                </c:pt>
                <c:pt idx="4">
                  <c:v>0.11397427204804374</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463130398387747</c:v>
                </c:pt>
                <c:pt idx="1">
                  <c:v>0.10089685436631027</c:v>
                </c:pt>
                <c:pt idx="2">
                  <c:v>0.04220597803109721</c:v>
                </c:pt>
                <c:pt idx="3">
                  <c:v>0.19017620271128785</c:v>
                </c:pt>
                <c:pt idx="4">
                  <c:v>0.11554308137836729</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080096332369632</c:v>
                </c:pt>
                <c:pt idx="4">
                  <c:v>0.0006702566477559338</c:v>
                </c:pt>
                <c:pt idx="5">
                  <c:v>0.007460807899391854</c:v>
                </c:pt>
                <c:pt idx="6">
                  <c:v>0.00086150973371730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54315999800493</c:v>
                </c:pt>
                <c:pt idx="1">
                  <c:v>0.029970561863713184</c:v>
                </c:pt>
                <c:pt idx="2">
                  <c:v>0.021275826452690442</c:v>
                </c:pt>
                <c:pt idx="3">
                  <c:v>0.06420743887990472</c:v>
                </c:pt>
                <c:pt idx="4">
                  <c:v>0.0515658244689362</c:v>
                </c:pt>
                <c:pt idx="5">
                  <c:v>0.016247160040633757</c:v>
                </c:pt>
                <c:pt idx="6">
                  <c:v>0.21486011847991565</c:v>
                </c:pt>
                <c:pt idx="7">
                  <c:v>0.070227843358362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8314179712304</c:v>
                </c:pt>
                <c:pt idx="7">
                  <c:v>0.01483537635576154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7</c:v>
                </c:pt>
                <c:pt idx="2">
                  <c:v>0.04693510634994417</c:v>
                </c:pt>
                <c:pt idx="3">
                  <c:v>0.18721915904999423</c:v>
                </c:pt>
                <c:pt idx="4">
                  <c:v>0.11397427204804374</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463130398387747</c:v>
                </c:pt>
                <c:pt idx="1">
                  <c:v>0.10089685436631027</c:v>
                </c:pt>
                <c:pt idx="2">
                  <c:v>0.04220597803109721</c:v>
                </c:pt>
                <c:pt idx="3">
                  <c:v>0.19017620271128785</c:v>
                </c:pt>
                <c:pt idx="4">
                  <c:v>0.11554308137836729</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9270974253293454</c:v>
                </c:pt>
                <c:pt idx="3">
                  <c:v>0.024548030078791416</c:v>
                </c:pt>
                <c:pt idx="4">
                  <c:v>0.009810426956057852</c:v>
                </c:pt>
                <c:pt idx="5">
                  <c:v>0.003996959760887519</c:v>
                </c:pt>
                <c:pt idx="6">
                  <c:v>0.04456290436752407</c:v>
                </c:pt>
                <c:pt idx="7">
                  <c:v>0.003555844543978521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6581820135669217</c:v>
                </c:pt>
                <c:pt idx="6">
                  <c:v>0.007980159161629585</c:v>
                </c:pt>
                <c:pt idx="7">
                  <c:v>0.00203604059104514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033057168921635</c:v>
                </c:pt>
                <c:pt idx="2">
                  <c:v>0.015575293480263666</c:v>
                </c:pt>
                <c:pt idx="3">
                  <c:v>0.07618113456974296</c:v>
                </c:pt>
                <c:pt idx="4">
                  <c:v>0.041353612119789246</c:v>
                </c:pt>
                <c:pt idx="5">
                  <c:v>0.019920196094519033</c:v>
                </c:pt>
                <c:pt idx="6">
                  <c:v>0.01489857284030667</c:v>
                </c:pt>
                <c:pt idx="7">
                  <c:v>0.00741115381845300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3406169395819451</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3186583260789222</c:v>
                </c:pt>
                <c:pt idx="2">
                  <c:v>0.005335637912701739</c:v>
                </c:pt>
                <c:pt idx="3">
                  <c:v>0.01101332601808888</c:v>
                </c:pt>
                <c:pt idx="4">
                  <c:v>0.009070118125323575</c:v>
                </c:pt>
                <c:pt idx="5">
                  <c:v>0.005345086986181991</c:v>
                </c:pt>
                <c:pt idx="7">
                  <c:v>0.000567135505498368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7</c:v>
                </c:pt>
                <c:pt idx="2">
                  <c:v>0.04693510634994417</c:v>
                </c:pt>
                <c:pt idx="3">
                  <c:v>0.18721915904999423</c:v>
                </c:pt>
                <c:pt idx="4">
                  <c:v>0.11397427204804374</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463130398387747</c:v>
                </c:pt>
                <c:pt idx="1">
                  <c:v>0.10089685436631027</c:v>
                </c:pt>
                <c:pt idx="2">
                  <c:v>0.04220597803109721</c:v>
                </c:pt>
                <c:pt idx="3">
                  <c:v>0.19017620271128785</c:v>
                </c:pt>
                <c:pt idx="4">
                  <c:v>0.11554308137836729</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905301930891949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65226862882689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6088143985872545</c:v>
                </c:pt>
                <c:pt idx="3">
                  <c:v>0.001767127827496638</c:v>
                </c:pt>
                <c:pt idx="4">
                  <c:v>0.00307284306050448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1659490452277403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54315999800493</c:v>
                </c:pt>
                <c:pt idx="1">
                  <c:v>0.029970561863713184</c:v>
                </c:pt>
                <c:pt idx="2">
                  <c:v>0.021275826452690442</c:v>
                </c:pt>
                <c:pt idx="3">
                  <c:v>0.06420743887990472</c:v>
                </c:pt>
                <c:pt idx="4">
                  <c:v>0.0515658244689362</c:v>
                </c:pt>
                <c:pt idx="5">
                  <c:v>0.016247160040633757</c:v>
                </c:pt>
                <c:pt idx="6">
                  <c:v>0.21486011847991565</c:v>
                </c:pt>
                <c:pt idx="7">
                  <c:v>0.070227843358362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4802204157137845</c:v>
                </c:pt>
                <c:pt idx="5">
                  <c:v>0.010115882321696993</c:v>
                </c:pt>
                <c:pt idx="6">
                  <c:v>0.001133482661767900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678503899595548</c:v>
                </c:pt>
                <c:pt idx="1">
                  <c:v>0.01456329797835265</c:v>
                </c:pt>
                <c:pt idx="2">
                  <c:v>0.009726616783803904</c:v>
                </c:pt>
                <c:pt idx="3">
                  <c:v>0.04463979907578906</c:v>
                </c:pt>
                <c:pt idx="4">
                  <c:v>0.03153846315593741</c:v>
                </c:pt>
                <c:pt idx="5">
                  <c:v>0.011474897532254402</c:v>
                </c:pt>
                <c:pt idx="6">
                  <c:v>0.2767775846686866</c:v>
                </c:pt>
                <c:pt idx="7">
                  <c:v>0.070053601473078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3080252267822753</c:v>
                </c:pt>
                <c:pt idx="4">
                  <c:v>0.004816703817601254</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12722665797452437</c:v>
                </c:pt>
                <c:pt idx="7">
                  <c:v>0.01924719060465695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362315907707282</c:v>
                </c:pt>
                <c:pt idx="3">
                  <c:v>0.011283855160371165</c:v>
                </c:pt>
                <c:pt idx="4">
                  <c:v>0.004486676888168998</c:v>
                </c:pt>
                <c:pt idx="5">
                  <c:v>0.006232999692058553</c:v>
                </c:pt>
                <c:pt idx="6">
                  <c:v>0.07054333872145166</c:v>
                </c:pt>
                <c:pt idx="7">
                  <c:v>0.00555910183258079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318006671776466</c:v>
                </c:pt>
                <c:pt idx="6">
                  <c:v>0.013600198927167392</c:v>
                </c:pt>
                <c:pt idx="7">
                  <c:v>0.003493546701591578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518669430718603</c:v>
                </c:pt>
                <c:pt idx="2">
                  <c:v>0.011282280617498853</c:v>
                </c:pt>
                <c:pt idx="3">
                  <c:v>0.033794613856060744</c:v>
                </c:pt>
                <c:pt idx="4">
                  <c:v>0.03375917116558429</c:v>
                </c:pt>
                <c:pt idx="5">
                  <c:v>0.012292991369006958</c:v>
                </c:pt>
                <c:pt idx="6">
                  <c:v>0.01836937945879565</c:v>
                </c:pt>
                <c:pt idx="7">
                  <c:v>0.003364515059855583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5910760716935357</c:v>
                </c:pt>
                <c:pt idx="3">
                  <c:v>0.00991268991036342</c:v>
                </c:pt>
                <c:pt idx="4">
                  <c:v>0.0028875603638751205</c:v>
                </c:pt>
                <c:pt idx="5">
                  <c:v>0.004426326067676305</c:v>
                </c:pt>
                <c:pt idx="7">
                  <c:v>0.000888778031663136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08224680107053819</c:v>
                </c:pt>
                <c:pt idx="7">
                  <c:v>0.001621410733422529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333806811121813</c:v>
                </c:pt>
                <c:pt idx="3">
                  <c:v>0.0027527502396575065</c:v>
                </c:pt>
                <c:pt idx="4">
                  <c:v>0.002435391488778450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24421078576564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8314179712304</c:v>
                </c:pt>
                <c:pt idx="7">
                  <c:v>0.01483537635576154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6802447120148726</c:v>
                </c:pt>
                <c:pt idx="2">
                  <c:v>0.04869440991895622</c:v>
                </c:pt>
                <c:pt idx="3">
                  <c:v>0.04088996951871713</c:v>
                </c:pt>
                <c:pt idx="4">
                  <c:v>0.25361554804749753</c:v>
                </c:pt>
                <c:pt idx="5">
                  <c:v>0.11838895636175994</c:v>
                </c:pt>
                <c:pt idx="6">
                  <c:v>0.16550560222536265</c:v>
                </c:pt>
                <c:pt idx="7">
                  <c:v>0.00871175347447606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115986623375866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7217197951360326</c:v>
                </c:pt>
                <c:pt idx="3">
                  <c:v>0.0010058958992497093</c:v>
                </c:pt>
                <c:pt idx="4">
                  <c:v>0.0470568817713853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9380089971689055</c:v>
                </c:pt>
                <c:pt idx="2">
                  <c:v>0.001931840369391561</c:v>
                </c:pt>
                <c:pt idx="3">
                  <c:v>0.05746959791053882</c:v>
                </c:pt>
                <c:pt idx="4">
                  <c:v>0.12898938281725697</c:v>
                </c:pt>
                <c:pt idx="5">
                  <c:v>0.015122509606738709</c:v>
                </c:pt>
                <c:pt idx="6">
                  <c:v>0.000862270577499066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170594247374988</c:v>
                </c:pt>
                <c:pt idx="4">
                  <c:v>0.007861850633016637</c:v>
                </c:pt>
                <c:pt idx="5">
                  <c:v>0.00443634681334110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7</c:v>
                </c:pt>
                <c:pt idx="2">
                  <c:v>0.04693510634994417</c:v>
                </c:pt>
                <c:pt idx="3">
                  <c:v>0.18721915904999423</c:v>
                </c:pt>
                <c:pt idx="4">
                  <c:v>0.11397427204804374</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616246226144931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9435298747451548</c:v>
                </c:pt>
                <c:pt idx="4">
                  <c:v>0.0144795070204456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463130398387747</c:v>
                </c:pt>
                <c:pt idx="1">
                  <c:v>0.10089685436631027</c:v>
                </c:pt>
                <c:pt idx="2">
                  <c:v>0.04220597803109721</c:v>
                </c:pt>
                <c:pt idx="3">
                  <c:v>0.19017620271128785</c:v>
                </c:pt>
                <c:pt idx="4">
                  <c:v>0.11554308137836729</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2214049764099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3</c:v>
                </c:pt>
                <c:pt idx="2">
                  <c:v>0.07109906005240599</c:v>
                </c:pt>
                <c:pt idx="3">
                  <c:v>0.2764396051594939</c:v>
                </c:pt>
                <c:pt idx="4">
                  <c:v>0.1644229815129468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398190236829365</c:v>
                </c:pt>
                <c:pt idx="1">
                  <c:v>0.12114250160819365</c:v>
                </c:pt>
                <c:pt idx="2">
                  <c:v>0.06889813844343272</c:v>
                </c:pt>
                <c:pt idx="3">
                  <c:v>0.2805879716201998</c:v>
                </c:pt>
                <c:pt idx="4">
                  <c:v>0.16666104669686718</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571296070994586</c:v>
                </c:pt>
                <c:pt idx="4">
                  <c:v>0.0015081578836701527</c:v>
                </c:pt>
                <c:pt idx="5">
                  <c:v>0.004085336247008824</c:v>
                </c:pt>
                <c:pt idx="6">
                  <c:v>0.000515957767053843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9270974253293454</c:v>
                </c:pt>
                <c:pt idx="3">
                  <c:v>0.024548030078791416</c:v>
                </c:pt>
                <c:pt idx="4">
                  <c:v>0.009810426956057852</c:v>
                </c:pt>
                <c:pt idx="5">
                  <c:v>0.003996959760887519</c:v>
                </c:pt>
                <c:pt idx="6">
                  <c:v>0.04456290436752407</c:v>
                </c:pt>
                <c:pt idx="7">
                  <c:v>0.003555844543978521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22587460929958045</c:v>
                </c:pt>
                <c:pt idx="1">
                  <c:v>0.04962238882232955</c:v>
                </c:pt>
                <c:pt idx="2">
                  <c:v>0.03598938070483513</c:v>
                </c:pt>
                <c:pt idx="3">
                  <c:v>0.08924047418819976</c:v>
                </c:pt>
                <c:pt idx="4">
                  <c:v>0.0772432843909047</c:v>
                </c:pt>
                <c:pt idx="5">
                  <c:v>0.022049272993968392</c:v>
                </c:pt>
                <c:pt idx="6">
                  <c:v>0.1359438627780665</c:v>
                </c:pt>
                <c:pt idx="7">
                  <c:v>0.0705738942403343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26995687860259802</c:v>
                </c:pt>
                <c:pt idx="7">
                  <c:v>0.00922204947603776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3</c:v>
                </c:pt>
                <c:pt idx="2">
                  <c:v>0.07109906005240599</c:v>
                </c:pt>
                <c:pt idx="3">
                  <c:v>0.2764396051594939</c:v>
                </c:pt>
                <c:pt idx="4">
                  <c:v>0.1644229815129468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398190236829365</c:v>
                </c:pt>
                <c:pt idx="1">
                  <c:v>0.12114250160819365</c:v>
                </c:pt>
                <c:pt idx="2">
                  <c:v>0.06889813844343272</c:v>
                </c:pt>
                <c:pt idx="3">
                  <c:v>0.2805879716201998</c:v>
                </c:pt>
                <c:pt idx="4">
                  <c:v>0.16666104669686718</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997586430779412</c:v>
                </c:pt>
                <c:pt idx="3">
                  <c:v>0.0415622577863633</c:v>
                </c:pt>
                <c:pt idx="4">
                  <c:v>0.016612395693300967</c:v>
                </c:pt>
                <c:pt idx="5">
                  <c:v>0.0011486555070291235</c:v>
                </c:pt>
                <c:pt idx="6">
                  <c:v>0.011463905030778479</c:v>
                </c:pt>
                <c:pt idx="7">
                  <c:v>0.00100399988365118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08188210066870043</c:v>
                </c:pt>
                <c:pt idx="6">
                  <c:v>0.000816187563113949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954885988726396</c:v>
                </c:pt>
                <c:pt idx="2">
                  <c:v>0.02109009142295124</c:v>
                </c:pt>
                <c:pt idx="3">
                  <c:v>0.1302949463693314</c:v>
                </c:pt>
                <c:pt idx="4">
                  <c:v>0.0504086092396908</c:v>
                </c:pt>
                <c:pt idx="5">
                  <c:v>0.029705834385749356</c:v>
                </c:pt>
                <c:pt idx="6">
                  <c:v>0.010498695956007732</c:v>
                </c:pt>
                <c:pt idx="7">
                  <c:v>0.01260153542560618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5072017426512618</c:v>
                </c:pt>
                <c:pt idx="6">
                  <c:v>0.007442914268737732</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09736664678207259</c:v>
                </c:pt>
                <c:pt idx="2">
                  <c:v>0.011774831955033082</c:v>
                </c:pt>
                <c:pt idx="3">
                  <c:v>0.012446836089642864</c:v>
                </c:pt>
                <c:pt idx="4">
                  <c:v>0.016993423137073048</c:v>
                </c:pt>
                <c:pt idx="5">
                  <c:v>0.00653239876047467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3</c:v>
                </c:pt>
                <c:pt idx="2">
                  <c:v>0.07109906005240599</c:v>
                </c:pt>
                <c:pt idx="3">
                  <c:v>0.2764396051594939</c:v>
                </c:pt>
                <c:pt idx="4">
                  <c:v>0.1644229815129468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6581820135669217</c:v>
                </c:pt>
                <c:pt idx="6">
                  <c:v>0.007980159161629585</c:v>
                </c:pt>
                <c:pt idx="7">
                  <c:v>0.00203604059104514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398190236829365</c:v>
                </c:pt>
                <c:pt idx="1">
                  <c:v>0.12114250160819365</c:v>
                </c:pt>
                <c:pt idx="2">
                  <c:v>0.06889813844343272</c:v>
                </c:pt>
                <c:pt idx="3">
                  <c:v>0.2805879716201998</c:v>
                </c:pt>
                <c:pt idx="4">
                  <c:v>0.16666104669686718</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191238987688108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6256991100346679</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213944414383356</c:v>
                </c:pt>
                <c:pt idx="3">
                  <c:v>0.0005116754700296689</c:v>
                </c:pt>
                <c:pt idx="4">
                  <c:v>0.0038951763522275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663212631781549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033057168921635</c:v>
                </c:pt>
                <c:pt idx="2">
                  <c:v>0.015575293480263666</c:v>
                </c:pt>
                <c:pt idx="3">
                  <c:v>0.07618113456974296</c:v>
                </c:pt>
                <c:pt idx="4">
                  <c:v>0.041353612119789246</c:v>
                </c:pt>
                <c:pt idx="5">
                  <c:v>0.019920196094519033</c:v>
                </c:pt>
                <c:pt idx="6">
                  <c:v>0.01489857284030667</c:v>
                </c:pt>
                <c:pt idx="7">
                  <c:v>0.00741115381845300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0773008453005103</c:v>
                </c:pt>
                <c:pt idx="2">
                  <c:v>0.008678161760759915</c:v>
                </c:pt>
                <c:pt idx="3">
                  <c:v>0.012822927951288957</c:v>
                </c:pt>
                <c:pt idx="4">
                  <c:v>0.0033703758399054214</c:v>
                </c:pt>
                <c:pt idx="5">
                  <c:v>0.010338450314485336</c:v>
                </c:pt>
                <c:pt idx="6">
                  <c:v>0.0005979373250639093</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3186583260789222</c:v>
                </c:pt>
                <c:pt idx="2">
                  <c:v>0.005335637912701739</c:v>
                </c:pt>
                <c:pt idx="3">
                  <c:v>0.01101332601808888</c:v>
                </c:pt>
                <c:pt idx="4">
                  <c:v>0.009070118125323575</c:v>
                </c:pt>
                <c:pt idx="5">
                  <c:v>0.005345086986181991</c:v>
                </c:pt>
                <c:pt idx="7">
                  <c:v>0.000567135505498368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7</c:v>
                </c:pt>
                <c:pt idx="2">
                  <c:v>0.04693510634994417</c:v>
                </c:pt>
                <c:pt idx="3">
                  <c:v>0.18721915904999423</c:v>
                </c:pt>
                <c:pt idx="4">
                  <c:v>0.11397427204804374</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463130398387747</c:v>
                </c:pt>
                <c:pt idx="1">
                  <c:v>0.10089685436631027</c:v>
                </c:pt>
                <c:pt idx="2">
                  <c:v>0.04220597803109721</c:v>
                </c:pt>
                <c:pt idx="3">
                  <c:v>0.19017620271128785</c:v>
                </c:pt>
                <c:pt idx="4">
                  <c:v>0.11554308137836729</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905301930891949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65226862882689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6088143985872545</c:v>
                </c:pt>
                <c:pt idx="3">
                  <c:v>0.001767127827496638</c:v>
                </c:pt>
                <c:pt idx="4">
                  <c:v>0.00307284306050448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1659490452277403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35855365303932</c:v>
                </c:pt>
                <c:pt idx="1">
                  <c:v>0.028339594817435244</c:v>
                </c:pt>
                <c:pt idx="2">
                  <c:v>0.020757460689461934</c:v>
                </c:pt>
                <c:pt idx="3">
                  <c:v>0.061364189974032965</c:v>
                </c:pt>
                <c:pt idx="4">
                  <c:v>0.06275600663322818</c:v>
                </c:pt>
                <c:pt idx="5">
                  <c:v>0.01978414093937737</c:v>
                </c:pt>
                <c:pt idx="6">
                  <c:v>0.22155747561606717</c:v>
                </c:pt>
                <c:pt idx="7">
                  <c:v>0.06549353118082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4802204157137845</c:v>
                </c:pt>
                <c:pt idx="5">
                  <c:v>0.010115882321696993</c:v>
                </c:pt>
                <c:pt idx="6">
                  <c:v>0.001133482661767900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678503899595548</c:v>
                </c:pt>
                <c:pt idx="1">
                  <c:v>0.01456329797835265</c:v>
                </c:pt>
                <c:pt idx="2">
                  <c:v>0.009726616783803904</c:v>
                </c:pt>
                <c:pt idx="3">
                  <c:v>0.04463979907578906</c:v>
                </c:pt>
                <c:pt idx="4">
                  <c:v>0.03153846315593741</c:v>
                </c:pt>
                <c:pt idx="5">
                  <c:v>0.011474897532254402</c:v>
                </c:pt>
                <c:pt idx="6">
                  <c:v>0.2767775846686866</c:v>
                </c:pt>
                <c:pt idx="7">
                  <c:v>0.070053601473078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1695579341572346</c:v>
                </c:pt>
                <c:pt idx="4">
                  <c:v>0.004397591724392433</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2679284545371273</c:v>
                </c:pt>
                <c:pt idx="4">
                  <c:v>0.0007358921153336899</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12722665797452437</c:v>
                </c:pt>
                <c:pt idx="7">
                  <c:v>0.01924719060465695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362315907707282</c:v>
                </c:pt>
                <c:pt idx="3">
                  <c:v>0.011283855160371165</c:v>
                </c:pt>
                <c:pt idx="4">
                  <c:v>0.004486676888168998</c:v>
                </c:pt>
                <c:pt idx="5">
                  <c:v>0.006232999692058553</c:v>
                </c:pt>
                <c:pt idx="6">
                  <c:v>0.07054333872145166</c:v>
                </c:pt>
                <c:pt idx="7">
                  <c:v>0.00555910183258079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318006671776466</c:v>
                </c:pt>
                <c:pt idx="6">
                  <c:v>0.013600198927167392</c:v>
                </c:pt>
                <c:pt idx="7">
                  <c:v>0.003493546701591578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518669430718603</c:v>
                </c:pt>
                <c:pt idx="2">
                  <c:v>0.011282280617498853</c:v>
                </c:pt>
                <c:pt idx="3">
                  <c:v>0.033794613856060744</c:v>
                </c:pt>
                <c:pt idx="4">
                  <c:v>0.03375917116558429</c:v>
                </c:pt>
                <c:pt idx="5">
                  <c:v>0.012292991369006958</c:v>
                </c:pt>
                <c:pt idx="6">
                  <c:v>0.01836937945879565</c:v>
                </c:pt>
                <c:pt idx="7">
                  <c:v>0.003364515059855583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6128718586269693</c:v>
                </c:pt>
                <c:pt idx="2">
                  <c:v>0.006991582897175139</c:v>
                </c:pt>
                <c:pt idx="3">
                  <c:v>0.004262297040550122</c:v>
                </c:pt>
                <c:pt idx="4">
                  <c:v>0.001996217834198327</c:v>
                </c:pt>
                <c:pt idx="5">
                  <c:v>0.0022376091348663306</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5910760716935357</c:v>
                </c:pt>
                <c:pt idx="3">
                  <c:v>0.00991268991036342</c:v>
                </c:pt>
                <c:pt idx="4">
                  <c:v>0.0028875603638751205</c:v>
                </c:pt>
                <c:pt idx="5">
                  <c:v>0.004426326067676305</c:v>
                </c:pt>
                <c:pt idx="7">
                  <c:v>0.000888778031663136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1/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1/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 Id="rId8" Type="http://schemas.openxmlformats.org/officeDocument/2006/relationships/chart" Target="../charts/chart351.xml"/><Relationship Id="rId9" Type="http://schemas.openxmlformats.org/officeDocument/2006/relationships/chart" Target="../charts/chart352.xml"/><Relationship Id="rId10" Type="http://schemas.openxmlformats.org/officeDocument/2006/relationships/chart" Target="../charts/chart353.xml"/><Relationship Id="rId11" Type="http://schemas.openxmlformats.org/officeDocument/2006/relationships/chart" Target="../charts/chart354.xml"/><Relationship Id="rId12" Type="http://schemas.openxmlformats.org/officeDocument/2006/relationships/chart" Target="../charts/chart355.xml"/><Relationship Id="rId13" Type="http://schemas.openxmlformats.org/officeDocument/2006/relationships/chart" Target="../charts/chart356.xml"/><Relationship Id="rId14" Type="http://schemas.openxmlformats.org/officeDocument/2006/relationships/chart" Target="../charts/chart357.xml"/><Relationship Id="rId15" Type="http://schemas.openxmlformats.org/officeDocument/2006/relationships/chart" Target="../charts/chart358.xml"/><Relationship Id="rId16" Type="http://schemas.openxmlformats.org/officeDocument/2006/relationships/chart" Target="../charts/chart359.xml"/><Relationship Id="rId17" Type="http://schemas.openxmlformats.org/officeDocument/2006/relationships/chart" Target="../charts/chart3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 Id="rId14" Type="http://schemas.openxmlformats.org/officeDocument/2006/relationships/chart" Target="../charts/chart369.xml"/><Relationship Id="rId15" Type="http://schemas.openxmlformats.org/officeDocument/2006/relationships/chart" Target="../charts/chart370.xml"/><Relationship Id="rId16" Type="http://schemas.openxmlformats.org/officeDocument/2006/relationships/chart" Target="../charts/chart371.xml"/><Relationship Id="rId17" Type="http://schemas.openxmlformats.org/officeDocument/2006/relationships/chart" Target="../charts/chart37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 Id="rId8" Type="http://schemas.openxmlformats.org/officeDocument/2006/relationships/chart" Target="../charts/chart375.xml"/><Relationship Id="rId9" Type="http://schemas.openxmlformats.org/officeDocument/2006/relationships/chart" Target="../charts/chart376.xml"/><Relationship Id="rId10" Type="http://schemas.openxmlformats.org/officeDocument/2006/relationships/chart" Target="../charts/chart377.xml"/><Relationship Id="rId11" Type="http://schemas.openxmlformats.org/officeDocument/2006/relationships/chart" Target="../charts/chart378.xml"/><Relationship Id="rId12" Type="http://schemas.openxmlformats.org/officeDocument/2006/relationships/chart" Target="../charts/chart379.xml"/><Relationship Id="rId13" Type="http://schemas.openxmlformats.org/officeDocument/2006/relationships/chart" Target="../charts/chart380.xml"/><Relationship Id="rId14" Type="http://schemas.openxmlformats.org/officeDocument/2006/relationships/chart" Target="../charts/chart381.xml"/><Relationship Id="rId15" Type="http://schemas.openxmlformats.org/officeDocument/2006/relationships/chart" Target="../charts/chart382.xml"/><Relationship Id="rId16" Type="http://schemas.openxmlformats.org/officeDocument/2006/relationships/chart" Target="../charts/chart383.xml"/><Relationship Id="rId17" Type="http://schemas.openxmlformats.org/officeDocument/2006/relationships/chart" Target="../charts/chart38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 Id="rId14" Type="http://schemas.openxmlformats.org/officeDocument/2006/relationships/chart" Target="../charts/chart393.xml"/><Relationship Id="rId15" Type="http://schemas.openxmlformats.org/officeDocument/2006/relationships/chart" Target="../charts/chart394.xml"/><Relationship Id="rId16" Type="http://schemas.openxmlformats.org/officeDocument/2006/relationships/chart" Target="../charts/chart395.xml"/><Relationship Id="rId17" Type="http://schemas.openxmlformats.org/officeDocument/2006/relationships/chart" Target="../charts/chart39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 Id="rId17" Type="http://schemas.openxmlformats.org/officeDocument/2006/relationships/chart" Target="../charts/chart40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 Id="rId14" Type="http://schemas.openxmlformats.org/officeDocument/2006/relationships/chart" Target="../charts/chart417.xml"/><Relationship Id="rId15" Type="http://schemas.openxmlformats.org/officeDocument/2006/relationships/chart" Target="../charts/chart418.xml"/><Relationship Id="rId16" Type="http://schemas.openxmlformats.org/officeDocument/2006/relationships/chart" Target="../charts/chart419.xml"/><Relationship Id="rId17" Type="http://schemas.openxmlformats.org/officeDocument/2006/relationships/chart" Target="../charts/chart42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 Id="rId8" Type="http://schemas.openxmlformats.org/officeDocument/2006/relationships/chart" Target="../charts/chart423.xml"/><Relationship Id="rId9" Type="http://schemas.openxmlformats.org/officeDocument/2006/relationships/chart" Target="../charts/chart424.xml"/><Relationship Id="rId10" Type="http://schemas.openxmlformats.org/officeDocument/2006/relationships/chart" Target="../charts/chart425.xml"/><Relationship Id="rId11" Type="http://schemas.openxmlformats.org/officeDocument/2006/relationships/chart" Target="../charts/chart426.xml"/><Relationship Id="rId12" Type="http://schemas.openxmlformats.org/officeDocument/2006/relationships/chart" Target="../charts/chart427.xml"/><Relationship Id="rId13" Type="http://schemas.openxmlformats.org/officeDocument/2006/relationships/chart" Target="../charts/chart428.xml"/><Relationship Id="rId14" Type="http://schemas.openxmlformats.org/officeDocument/2006/relationships/chart" Target="../charts/chart429.xml"/><Relationship Id="rId15" Type="http://schemas.openxmlformats.org/officeDocument/2006/relationships/chart" Target="../charts/chart430.xml"/><Relationship Id="rId16" Type="http://schemas.openxmlformats.org/officeDocument/2006/relationships/chart" Target="../charts/chart431.xml"/><Relationship Id="rId17" Type="http://schemas.openxmlformats.org/officeDocument/2006/relationships/chart" Target="../charts/chart43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3.xml"/><Relationship Id="rId7" Type="http://schemas.openxmlformats.org/officeDocument/2006/relationships/chart" Target="../charts/chart434.xml"/><Relationship Id="rId8" Type="http://schemas.openxmlformats.org/officeDocument/2006/relationships/chart" Target="../charts/chart435.xml"/><Relationship Id="rId9" Type="http://schemas.openxmlformats.org/officeDocument/2006/relationships/chart" Target="../charts/chart436.xml"/><Relationship Id="rId10" Type="http://schemas.openxmlformats.org/officeDocument/2006/relationships/chart" Target="../charts/chart437.xml"/><Relationship Id="rId11" Type="http://schemas.openxmlformats.org/officeDocument/2006/relationships/chart" Target="../charts/chart438.xml"/><Relationship Id="rId12" Type="http://schemas.openxmlformats.org/officeDocument/2006/relationships/chart" Target="../charts/chart439.xml"/><Relationship Id="rId13" Type="http://schemas.openxmlformats.org/officeDocument/2006/relationships/chart" Target="../charts/chart440.xml"/><Relationship Id="rId14" Type="http://schemas.openxmlformats.org/officeDocument/2006/relationships/chart" Target="../charts/chart441.xml"/><Relationship Id="rId15" Type="http://schemas.openxmlformats.org/officeDocument/2006/relationships/chart" Target="../charts/chart442.xml"/><Relationship Id="rId16" Type="http://schemas.openxmlformats.org/officeDocument/2006/relationships/chart" Target="../charts/chart443.xml"/><Relationship Id="rId17" Type="http://schemas.openxmlformats.org/officeDocument/2006/relationships/chart" Target="../charts/chart444.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5.xml"/><Relationship Id="rId7" Type="http://schemas.openxmlformats.org/officeDocument/2006/relationships/chart" Target="../charts/chart446.xml"/><Relationship Id="rId8" Type="http://schemas.openxmlformats.org/officeDocument/2006/relationships/chart" Target="../charts/chart447.xml"/><Relationship Id="rId9" Type="http://schemas.openxmlformats.org/officeDocument/2006/relationships/chart" Target="../charts/chart448.xml"/><Relationship Id="rId10" Type="http://schemas.openxmlformats.org/officeDocument/2006/relationships/chart" Target="../charts/chart449.xml"/><Relationship Id="rId11" Type="http://schemas.openxmlformats.org/officeDocument/2006/relationships/chart" Target="../charts/chart450.xml"/><Relationship Id="rId12" Type="http://schemas.openxmlformats.org/officeDocument/2006/relationships/chart" Target="../charts/chart451.xml"/><Relationship Id="rId13" Type="http://schemas.openxmlformats.org/officeDocument/2006/relationships/chart" Target="../charts/chart452.xml"/><Relationship Id="rId14" Type="http://schemas.openxmlformats.org/officeDocument/2006/relationships/chart" Target="../charts/chart453.xml"/><Relationship Id="rId15" Type="http://schemas.openxmlformats.org/officeDocument/2006/relationships/chart" Target="../charts/chart454.xml"/><Relationship Id="rId16" Type="http://schemas.openxmlformats.org/officeDocument/2006/relationships/chart" Target="../charts/chart455.xml"/><Relationship Id="rId17" Type="http://schemas.openxmlformats.org/officeDocument/2006/relationships/chart" Target="../charts/chart45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7.xml"/><Relationship Id="rId7" Type="http://schemas.openxmlformats.org/officeDocument/2006/relationships/chart" Target="../charts/chart458.xml"/><Relationship Id="rId8" Type="http://schemas.openxmlformats.org/officeDocument/2006/relationships/chart" Target="../charts/chart459.xml"/><Relationship Id="rId9" Type="http://schemas.openxmlformats.org/officeDocument/2006/relationships/chart" Target="../charts/chart460.xml"/><Relationship Id="rId10" Type="http://schemas.openxmlformats.org/officeDocument/2006/relationships/chart" Target="../charts/chart461.xml"/><Relationship Id="rId11" Type="http://schemas.openxmlformats.org/officeDocument/2006/relationships/chart" Target="../charts/chart462.xml"/><Relationship Id="rId12" Type="http://schemas.openxmlformats.org/officeDocument/2006/relationships/chart" Target="../charts/chart463.xml"/><Relationship Id="rId13" Type="http://schemas.openxmlformats.org/officeDocument/2006/relationships/chart" Target="../charts/chart464.xml"/><Relationship Id="rId14" Type="http://schemas.openxmlformats.org/officeDocument/2006/relationships/chart" Target="../charts/chart465.xml"/><Relationship Id="rId15" Type="http://schemas.openxmlformats.org/officeDocument/2006/relationships/chart" Target="../charts/chart466.xml"/><Relationship Id="rId16" Type="http://schemas.openxmlformats.org/officeDocument/2006/relationships/chart" Target="../charts/chart467.xml"/><Relationship Id="rId17" Type="http://schemas.openxmlformats.org/officeDocument/2006/relationships/chart" Target="../charts/chart46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9.xml"/><Relationship Id="rId7" Type="http://schemas.openxmlformats.org/officeDocument/2006/relationships/chart" Target="../charts/chart470.xml"/><Relationship Id="rId8" Type="http://schemas.openxmlformats.org/officeDocument/2006/relationships/chart" Target="../charts/chart471.xml"/><Relationship Id="rId9" Type="http://schemas.openxmlformats.org/officeDocument/2006/relationships/chart" Target="../charts/chart472.xml"/><Relationship Id="rId10" Type="http://schemas.openxmlformats.org/officeDocument/2006/relationships/chart" Target="../charts/chart473.xml"/><Relationship Id="rId11" Type="http://schemas.openxmlformats.org/officeDocument/2006/relationships/chart" Target="../charts/chart474.xml"/><Relationship Id="rId12" Type="http://schemas.openxmlformats.org/officeDocument/2006/relationships/chart" Target="../charts/chart475.xml"/><Relationship Id="rId13" Type="http://schemas.openxmlformats.org/officeDocument/2006/relationships/chart" Target="../charts/chart476.xml"/><Relationship Id="rId14" Type="http://schemas.openxmlformats.org/officeDocument/2006/relationships/chart" Target="../charts/chart477.xml"/><Relationship Id="rId15" Type="http://schemas.openxmlformats.org/officeDocument/2006/relationships/chart" Target="../charts/chart478.xml"/><Relationship Id="rId16" Type="http://schemas.openxmlformats.org/officeDocument/2006/relationships/chart" Target="../charts/chart479.xml"/><Relationship Id="rId17" Type="http://schemas.openxmlformats.org/officeDocument/2006/relationships/chart" Target="../charts/chart48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1.xml"/><Relationship Id="rId7" Type="http://schemas.openxmlformats.org/officeDocument/2006/relationships/chart" Target="../charts/chart482.xml"/><Relationship Id="rId8" Type="http://schemas.openxmlformats.org/officeDocument/2006/relationships/chart" Target="../charts/chart483.xml"/><Relationship Id="rId9" Type="http://schemas.openxmlformats.org/officeDocument/2006/relationships/chart" Target="../charts/chart484.xml"/><Relationship Id="rId10" Type="http://schemas.openxmlformats.org/officeDocument/2006/relationships/chart" Target="../charts/chart485.xml"/><Relationship Id="rId11" Type="http://schemas.openxmlformats.org/officeDocument/2006/relationships/chart" Target="../charts/chart486.xml"/><Relationship Id="rId12" Type="http://schemas.openxmlformats.org/officeDocument/2006/relationships/chart" Target="../charts/chart487.xml"/><Relationship Id="rId13" Type="http://schemas.openxmlformats.org/officeDocument/2006/relationships/chart" Target="../charts/chart488.xml"/><Relationship Id="rId14" Type="http://schemas.openxmlformats.org/officeDocument/2006/relationships/chart" Target="../charts/chart489.xml"/><Relationship Id="rId15" Type="http://schemas.openxmlformats.org/officeDocument/2006/relationships/chart" Target="../charts/chart490.xml"/><Relationship Id="rId16" Type="http://schemas.openxmlformats.org/officeDocument/2006/relationships/chart" Target="../charts/chart491.xml"/><Relationship Id="rId17" Type="http://schemas.openxmlformats.org/officeDocument/2006/relationships/chart" Target="../charts/chart49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3.xml"/><Relationship Id="rId7" Type="http://schemas.openxmlformats.org/officeDocument/2006/relationships/chart" Target="../charts/chart494.xml"/><Relationship Id="rId8" Type="http://schemas.openxmlformats.org/officeDocument/2006/relationships/chart" Target="../charts/chart495.xml"/><Relationship Id="rId9" Type="http://schemas.openxmlformats.org/officeDocument/2006/relationships/chart" Target="../charts/chart496.xml"/><Relationship Id="rId10" Type="http://schemas.openxmlformats.org/officeDocument/2006/relationships/chart" Target="../charts/chart497.xml"/><Relationship Id="rId11" Type="http://schemas.openxmlformats.org/officeDocument/2006/relationships/chart" Target="../charts/chart498.xml"/><Relationship Id="rId12" Type="http://schemas.openxmlformats.org/officeDocument/2006/relationships/chart" Target="../charts/chart499.xml"/><Relationship Id="rId13" Type="http://schemas.openxmlformats.org/officeDocument/2006/relationships/chart" Target="../charts/chart500.xml"/><Relationship Id="rId14" Type="http://schemas.openxmlformats.org/officeDocument/2006/relationships/chart" Target="../charts/chart501.xml"/><Relationship Id="rId15" Type="http://schemas.openxmlformats.org/officeDocument/2006/relationships/chart" Target="../charts/chart502.xml"/><Relationship Id="rId16" Type="http://schemas.openxmlformats.org/officeDocument/2006/relationships/chart" Target="../charts/chart503.xml"/><Relationship Id="rId17" Type="http://schemas.openxmlformats.org/officeDocument/2006/relationships/chart" Target="../charts/chart504.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5.xml"/><Relationship Id="rId7" Type="http://schemas.openxmlformats.org/officeDocument/2006/relationships/chart" Target="../charts/chart506.xml"/><Relationship Id="rId8" Type="http://schemas.openxmlformats.org/officeDocument/2006/relationships/chart" Target="../charts/chart507.xml"/><Relationship Id="rId9" Type="http://schemas.openxmlformats.org/officeDocument/2006/relationships/chart" Target="../charts/chart508.xml"/><Relationship Id="rId10" Type="http://schemas.openxmlformats.org/officeDocument/2006/relationships/chart" Target="../charts/chart509.xml"/><Relationship Id="rId11" Type="http://schemas.openxmlformats.org/officeDocument/2006/relationships/chart" Target="../charts/chart510.xml"/><Relationship Id="rId12" Type="http://schemas.openxmlformats.org/officeDocument/2006/relationships/chart" Target="../charts/chart511.xml"/><Relationship Id="rId13" Type="http://schemas.openxmlformats.org/officeDocument/2006/relationships/chart" Target="../charts/chart512.xml"/><Relationship Id="rId14" Type="http://schemas.openxmlformats.org/officeDocument/2006/relationships/chart" Target="../charts/chart513.xml"/><Relationship Id="rId15" Type="http://schemas.openxmlformats.org/officeDocument/2006/relationships/chart" Target="../charts/chart514.xml"/><Relationship Id="rId16" Type="http://schemas.openxmlformats.org/officeDocument/2006/relationships/chart" Target="../charts/chart515.xml"/><Relationship Id="rId17" Type="http://schemas.openxmlformats.org/officeDocument/2006/relationships/chart" Target="../charts/chart516.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7.xml"/><Relationship Id="rId7" Type="http://schemas.openxmlformats.org/officeDocument/2006/relationships/chart" Target="../charts/chart518.xml"/><Relationship Id="rId8" Type="http://schemas.openxmlformats.org/officeDocument/2006/relationships/chart" Target="../charts/chart519.xml"/><Relationship Id="rId9" Type="http://schemas.openxmlformats.org/officeDocument/2006/relationships/chart" Target="../charts/chart520.xml"/><Relationship Id="rId10" Type="http://schemas.openxmlformats.org/officeDocument/2006/relationships/chart" Target="../charts/chart521.xml"/><Relationship Id="rId11" Type="http://schemas.openxmlformats.org/officeDocument/2006/relationships/chart" Target="../charts/chart522.xml"/><Relationship Id="rId12" Type="http://schemas.openxmlformats.org/officeDocument/2006/relationships/chart" Target="../charts/chart523.xml"/><Relationship Id="rId13" Type="http://schemas.openxmlformats.org/officeDocument/2006/relationships/chart" Target="../charts/chart524.xml"/><Relationship Id="rId14" Type="http://schemas.openxmlformats.org/officeDocument/2006/relationships/chart" Target="../charts/chart525.xml"/><Relationship Id="rId15" Type="http://schemas.openxmlformats.org/officeDocument/2006/relationships/chart" Target="../charts/chart526.xml"/><Relationship Id="rId16" Type="http://schemas.openxmlformats.org/officeDocument/2006/relationships/chart" Target="../charts/chart527.xml"/><Relationship Id="rId17" Type="http://schemas.openxmlformats.org/officeDocument/2006/relationships/chart" Target="../charts/chart528.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 Id="rId14" Type="http://schemas.openxmlformats.org/officeDocument/2006/relationships/chart" Target="../charts/chart537.xml"/><Relationship Id="rId15" Type="http://schemas.openxmlformats.org/officeDocument/2006/relationships/chart" Target="../charts/chart538.xml"/><Relationship Id="rId16" Type="http://schemas.openxmlformats.org/officeDocument/2006/relationships/chart" Target="../charts/chart539.xml"/><Relationship Id="rId17" Type="http://schemas.openxmlformats.org/officeDocument/2006/relationships/chart" Target="../charts/chart540.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614298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929485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299129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16957582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690145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527798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8285953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365569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468700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12869031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944588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784329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734149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5130321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495926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3300092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32057766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9779725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561039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9853494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015777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773055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9235377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1215188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479541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752186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3727528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774432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323036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34484407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027314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9235095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30187207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225575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566183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986247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1997286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716600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1540334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993374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7728911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41789431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69237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759730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42266063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TotalTime>
  <Words>6255</Words>
  <Application>Microsoft Office PowerPoint</Application>
  <PresentationFormat>On-screen Show (16:9)</PresentationFormat>
  <Paragraphs>1890</Paragraphs>
  <Slides>45</Slides>
  <Notes>4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6"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Raphaella ASHRAF</cp:lastModifiedBy>
  <cp:revision>64</cp:revision>
  <dcterms:created xsi:type="dcterms:W3CDTF">2024-07-05T11:30:58Z</dcterms:created>
  <dcterms:modified xsi:type="dcterms:W3CDTF">2025-07-01T07:39: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